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  <p:sldMasterId id="2147483713" r:id="rId5"/>
  </p:sldMasterIdLst>
  <p:notesMasterIdLst>
    <p:notesMasterId r:id="rId8"/>
  </p:notesMasterIdLst>
  <p:sldIdLst>
    <p:sldId id="2147471233" r:id="rId6"/>
    <p:sldId id="2147471236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C3D142B0-1626-A402-9F44-F39EBFB49FBD}" name="Eshan Vasudeva" initials="EV" userId="S::eshan.vasudeva@populationhp.com::8fd6d2dc-4408-45c9-b9c9-302955e1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52"/>
    <a:srgbClr val="DE5900"/>
    <a:srgbClr val="DE5A00"/>
    <a:srgbClr val="003A28"/>
    <a:srgbClr val="FFCEB3"/>
    <a:srgbClr val="FFE1D1"/>
    <a:srgbClr val="E06258"/>
    <a:srgbClr val="D5FFF2"/>
    <a:srgbClr val="A24200"/>
    <a:srgbClr val="FF5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2DBBEB-8239-468D-96F6-B2CE832DA6B4}" v="1" dt="2023-12-04T16:21:06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46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67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8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1/1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Relationship Id="rId9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8849A7-491E-ABDC-F31E-413A04A297AC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FBE1B0-06D5-5C2D-A278-20EA0C120FC9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DFAD4B1-D27F-0F8A-5D2B-CA1861E73D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287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5D73040-FD4D-2CD8-6401-6553E3F34C19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C970D55-B00E-6D6E-B1AB-F97A4199570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39A400C-7A85-607E-C361-564594F455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753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068402-C27E-3BB5-CD59-1D753A3C5B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068402-C27E-3BB5-CD59-1D753A3C5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91FF88-5AF9-2314-E9C6-BE907DEB7268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1EF79F8-5D2E-778B-6E16-1DA65DF077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011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482FE6-D2C7-E676-F74F-B481B41B5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482FE6-D2C7-E676-F74F-B481B41B5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5A7C83-3BFD-1330-108F-0BD11870EBA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5395A6-0290-3BEB-46C0-2FDE77AD3DC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AB5DE0-3C4B-C127-317C-B20927CC6ABD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129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FEF0509-D5A0-B5C7-7F2D-37B2E80C974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866881E-B59E-C220-94D7-F2580463AD1D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533C9D2-0917-38E9-7B0E-90C1CDAC11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296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5B65C1-7EC8-6942-DE51-E76A5455F021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7A0C6C3-E820-0F69-93D0-8843D4AA4D2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379E0EE7-5C74-C52D-E5B4-E9EB02E26E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99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anuary 2024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0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6" progId="TCLayout.ActiveDocument.1">
                  <p:embed/>
                </p:oleObj>
              </mc:Choice>
              <mc:Fallback>
                <p:oleObj name="think-cell Slide" r:id="rId12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anuary 2024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E017C-B21B-BC61-5692-4DD2E27C9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E017C-B21B-BC61-5692-4DD2E27C9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24D28F-ACC4-6373-B61F-030FBEFBB16A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57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3EEB6B-616A-8C64-CABD-C3D4B83A1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EEB6B-616A-8C64-CABD-C3D4B83A1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277A7F5-FB48-D8E7-4F3E-3B4635454C0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046" y="1461877"/>
            <a:ext cx="2643188" cy="4497705"/>
          </a:xfrm>
        </p:spPr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STRATEGY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Sees the big picture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Clarifies choice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Energizes other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Visionary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Understands immediate issues of work </a:t>
            </a:r>
            <a:br>
              <a:rPr lang="en-US" sz="1100" b="0" dirty="0"/>
            </a:br>
            <a:r>
              <a:rPr lang="en-US" sz="1100" b="0" dirty="0"/>
              <a:t>or analysis 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Identifies opportunities for improvement </a:t>
            </a:r>
            <a:br>
              <a:rPr lang="en-US" sz="1100" b="0" dirty="0"/>
            </a:br>
            <a:r>
              <a:rPr lang="en-US" sz="1100" b="0" dirty="0"/>
              <a:t>within area of responsibility 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Develops insights or recommendations that have improved business performance enabling trustworthy and effective communications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Develops insights or recommendations that have shaped team or department strategy 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Implements a successful strategy that challenges other parts of the company or other players in the industry</a:t>
            </a:r>
            <a:endParaRPr lang="en-US" sz="110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249D9A-F389-DD26-25B3-943C97A3A62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756" y="1461877"/>
            <a:ext cx="2643188" cy="4497705"/>
          </a:xfrm>
        </p:spPr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EXECUTION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Plans from fundamental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ts people aligned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ts result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Experiential learner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Fast, right first time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Fulfills assigned tasks 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Overcomes obstacles to achieve goals through trustworthy actions and communications 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Exceeds goals and raises effectiveness of organization 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Introduces incremental improvements </a:t>
            </a:r>
            <a:br>
              <a:rPr lang="en-US" sz="1100" b="0" dirty="0"/>
            </a:br>
            <a:r>
              <a:rPr lang="en-US" sz="1100" b="0" dirty="0"/>
              <a:t>to enhance business performance using </a:t>
            </a:r>
            <a:br>
              <a:rPr lang="en-US" sz="1100" b="0" dirty="0"/>
            </a:br>
            <a:r>
              <a:rPr lang="en-US" sz="1100" b="0" dirty="0"/>
              <a:t>robust analysis 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Invents and delivers best-in-class standards </a:t>
            </a:r>
            <a:br>
              <a:rPr lang="en-US" sz="1100" b="0" dirty="0"/>
            </a:br>
            <a:r>
              <a:rPr lang="en-US" sz="1100" b="0" dirty="0"/>
              <a:t>and performance</a:t>
            </a:r>
            <a:endParaRPr lang="en-US" sz="12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2D5DB1-13FA-7C29-321F-0A919B2BC21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1466" y="1461877"/>
            <a:ext cx="2643188" cy="4497705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ENGAGING TALENT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Finds, attracts, retain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Inspires and motivate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Highest and best use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Focuses primarily on own abilities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Points out mistakes to support the development of others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Gives specific positive and negative behavioral feedback to support the development of others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Gives specific positive and negative behavioral feedback and provides unfailing support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Inspires and motivates others to develop by communicating the ideation and values of the organization and by providing feedback and identifying new growth opportunities for the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37F18-1A45-5512-A9BB-BFBD4B135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ENC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4AC010-F695-FBEC-037C-E6BF15DB3D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eadershi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13640A-EE30-AB2D-B2FE-9AAA05BD0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80EE0-04CA-FDB4-EB63-47F65C697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 |  January 2024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D77514-3E11-E8DF-5595-F2CC33AD0D7D}"/>
              </a:ext>
            </a:extLst>
          </p:cNvPr>
          <p:cNvCxnSpPr>
            <a:cxnSpLocks/>
          </p:cNvCxnSpPr>
          <p:nvPr/>
        </p:nvCxnSpPr>
        <p:spPr>
          <a:xfrm>
            <a:off x="452024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DDA3E526-2801-C8AD-6EE4-09D3B9007A8F}"/>
              </a:ext>
            </a:extLst>
          </p:cNvPr>
          <p:cNvSpPr txBox="1">
            <a:spLocks/>
          </p:cNvSpPr>
          <p:nvPr/>
        </p:nvSpPr>
        <p:spPr>
          <a:xfrm>
            <a:off x="9114176" y="1461877"/>
            <a:ext cx="2643188" cy="449770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b="1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tabLst/>
              <a:defRPr sz="2000" b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354013" indent="-3540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695325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1036638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14224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1"/>
                </a:solidFill>
              </a:rPr>
              <a:t>PROFESSIONAL INTEGRITY 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Courage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Act like an owner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Shows occasional lapses in trustworthy behavior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Generally acts consistently with stated intentions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Acts consistently with stated intentions even in difficult circumstances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Is reliable and authentic even at some personal cost; acts as a role model for and communicates the ideation and values of the organization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Is reliable and authentic even at some personal cost; works to ensure all members of the organization operate with integrity</a:t>
            </a:r>
            <a:endParaRPr lang="en-US" sz="1100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C56DC5D-7178-F106-D368-81175739B319}"/>
              </a:ext>
            </a:extLst>
          </p:cNvPr>
          <p:cNvCxnSpPr>
            <a:cxnSpLocks/>
          </p:cNvCxnSpPr>
          <p:nvPr/>
        </p:nvCxnSpPr>
        <p:spPr>
          <a:xfrm>
            <a:off x="3339408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B392E2-9DFA-BA1C-2800-E2D25747C062}"/>
              </a:ext>
            </a:extLst>
          </p:cNvPr>
          <p:cNvCxnSpPr>
            <a:cxnSpLocks/>
          </p:cNvCxnSpPr>
          <p:nvPr/>
        </p:nvCxnSpPr>
        <p:spPr>
          <a:xfrm>
            <a:off x="6226792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74A315-5F8F-ADDC-0AA4-AD426F215C2D}"/>
              </a:ext>
            </a:extLst>
          </p:cNvPr>
          <p:cNvCxnSpPr>
            <a:cxnSpLocks/>
          </p:cNvCxnSpPr>
          <p:nvPr/>
        </p:nvCxnSpPr>
        <p:spPr>
          <a:xfrm>
            <a:off x="9114176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540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3EEB6B-616A-8C64-CABD-C3D4B83A1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EEB6B-616A-8C64-CABD-C3D4B83A1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A937F18-1A45-5512-A9BB-BFBD4B135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ENC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4AC010-F695-FBEC-037C-E6BF15DB3D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eadershi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13640A-EE30-AB2D-B2FE-9AAA05BD0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80EE0-04CA-FDB4-EB63-47F65C697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 |  January 2024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E342A25B-FC29-4C59-78EF-E6B8A6401164}"/>
              </a:ext>
            </a:extLst>
          </p:cNvPr>
          <p:cNvSpPr txBox="1">
            <a:spLocks/>
          </p:cNvSpPr>
          <p:nvPr/>
        </p:nvSpPr>
        <p:spPr>
          <a:xfrm>
            <a:off x="466046" y="1461877"/>
            <a:ext cx="2554245" cy="449770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b="1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tabLst/>
              <a:defRPr sz="2000" b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354013" indent="-3540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695325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1036638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14224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1"/>
                </a:solidFill>
              </a:rPr>
              <a:t>SELF AWARENESS 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Trustworthy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Is sometimes self-absorbed or overly </a:t>
            </a:r>
            <a:br>
              <a:rPr lang="en-US" sz="1100" b="0" dirty="0"/>
            </a:br>
            <a:r>
              <a:rPr lang="en-US" sz="1100" b="0" dirty="0"/>
              <a:t>self-interested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Generally treats others with respect; usually shares praise and credit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Is humble and respectful to all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Is respectful to all and generous with praise; ensures other opinions are heard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Uses understanding of others and self </a:t>
            </a:r>
            <a:br>
              <a:rPr lang="en-US" sz="1100" b="0" dirty="0"/>
            </a:br>
            <a:r>
              <a:rPr lang="en-US" sz="1100" b="0" dirty="0"/>
              <a:t>and trustworthy communications to </a:t>
            </a:r>
            <a:br>
              <a:rPr lang="en-US" sz="1100" b="0" dirty="0"/>
            </a:br>
            <a:r>
              <a:rPr lang="en-US" sz="1100" b="0" dirty="0"/>
              <a:t>resolve conflicts and foster mutual respect and collaboration</a:t>
            </a:r>
            <a:endParaRPr lang="en-US" sz="1200" dirty="0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098A9F4A-90C2-BCF6-CD3F-FD8421D52BC2}"/>
              </a:ext>
            </a:extLst>
          </p:cNvPr>
          <p:cNvSpPr txBox="1">
            <a:spLocks/>
          </p:cNvSpPr>
          <p:nvPr/>
        </p:nvSpPr>
        <p:spPr>
          <a:xfrm>
            <a:off x="3348756" y="1461877"/>
            <a:ext cx="2554245" cy="449770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b="1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tabLst/>
              <a:defRPr sz="2000" b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354013" indent="-3540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695325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1036638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14224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1"/>
                </a:solidFill>
              </a:rPr>
              <a:t>VERSATILE AND AGILE 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Cognitive power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Resilience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kills portfolio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Accepts status quo; does not see the need </a:t>
            </a:r>
            <a:br>
              <a:rPr lang="en-US" sz="1100" b="0" dirty="0"/>
            </a:br>
            <a:r>
              <a:rPr lang="en-US" sz="1100" b="0" dirty="0"/>
              <a:t>for change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Challenges status quo and identifies what needs to change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Defines positive direction for change and persuades others to support it through trustworthy communications and actions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Promotes change and mobilizes individuals to change behavior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Builds coalition of supporters and coordinates change across multiple individuals; may create champions who will mobilize others to change</a:t>
            </a:r>
          </a:p>
        </p:txBody>
      </p:sp>
      <p:sp>
        <p:nvSpPr>
          <p:cNvPr id="28" name="Content Placeholder 11">
            <a:extLst>
              <a:ext uri="{FF2B5EF4-FFF2-40B4-BE49-F238E27FC236}">
                <a16:creationId xmlns:a16="http://schemas.microsoft.com/office/drawing/2014/main" id="{1BD122AE-19CA-8D09-676F-112E52EFDF9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31467" y="1461877"/>
            <a:ext cx="2568268" cy="4497705"/>
          </a:xfrm>
        </p:spPr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BOUNDRY-LESS   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Multidisciplinary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Multicultural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Curiou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nerou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Outward looking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Trusted communicator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Accepts input from others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Engages others in problem solving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Generates support from others for ideas </a:t>
            </a:r>
            <a:br>
              <a:rPr lang="en-US" sz="1100" b="0" dirty="0"/>
            </a:br>
            <a:r>
              <a:rPr lang="en-US" sz="1100" b="0" dirty="0"/>
              <a:t>and initiatives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Brings others together across boundaries to achieve results and share best practices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Builds enduring partnerships within and outside of organization to improve effectiveness, even at short-term personal cost</a:t>
            </a:r>
            <a:endParaRPr lang="en-US" sz="1100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DFB8DDE-8EFF-30D8-997A-CAC06A8CD723}"/>
              </a:ext>
            </a:extLst>
          </p:cNvPr>
          <p:cNvCxnSpPr>
            <a:cxnSpLocks/>
          </p:cNvCxnSpPr>
          <p:nvPr/>
        </p:nvCxnSpPr>
        <p:spPr>
          <a:xfrm>
            <a:off x="452024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316C5A8-C331-58F6-F03D-703FD9FB433F}"/>
              </a:ext>
            </a:extLst>
          </p:cNvPr>
          <p:cNvCxnSpPr>
            <a:cxnSpLocks/>
          </p:cNvCxnSpPr>
          <p:nvPr/>
        </p:nvCxnSpPr>
        <p:spPr>
          <a:xfrm>
            <a:off x="3339408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F539C9A-AA25-104C-D92D-6DA2F2379234}"/>
              </a:ext>
            </a:extLst>
          </p:cNvPr>
          <p:cNvCxnSpPr>
            <a:cxnSpLocks/>
          </p:cNvCxnSpPr>
          <p:nvPr/>
        </p:nvCxnSpPr>
        <p:spPr>
          <a:xfrm>
            <a:off x="6226792" y="1450991"/>
            <a:ext cx="256826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647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Metsera Theme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etsera Theme" id="{44BB0F2F-B502-44CF-844D-7C2E014FCCB7}" vid="{433E226A-F40A-4C4A-AEC1-550202E569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Props1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CB894B-B7D0-4614-AF33-49D1B5D971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c535c6-63a4-4339-b449-26eeb0d3d3cb"/>
    <ds:schemaRef ds:uri="ce1d24c5-b878-439b-8570-a7c8ba6bb6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F2F879D-8863-4808-8589-430CC253668D}">
  <ds:schemaRefs>
    <ds:schemaRef ds:uri="http://schemas.openxmlformats.org/package/2006/metadata/core-properties"/>
    <ds:schemaRef ds:uri="d8c535c6-63a4-4339-b449-26eeb0d3d3cb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ce1d24c5-b878-439b-8570-a7c8ba6bb6e0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</TotalTime>
  <Words>603</Words>
  <Application>Microsoft Macintosh PowerPoint</Application>
  <PresentationFormat>Widescreen</PresentationFormat>
  <Paragraphs>5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andara</vt:lpstr>
      <vt:lpstr>Franklin Gothic Heavy</vt:lpstr>
      <vt:lpstr>Gill Sans</vt:lpstr>
      <vt:lpstr>Tahoma</vt:lpstr>
      <vt:lpstr>Main Theme_Confidential</vt:lpstr>
      <vt:lpstr>Metsera Theme</vt:lpstr>
      <vt:lpstr>think-cell Slide</vt:lpstr>
      <vt:lpstr>COMPETENCIES</vt:lpstr>
      <vt:lpstr>COMPETENC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lastModifiedBy>Stuart Lopez</cp:lastModifiedBy>
  <cp:revision>55</cp:revision>
  <cp:lastPrinted>2022-12-22T18:37:53Z</cp:lastPrinted>
  <dcterms:created xsi:type="dcterms:W3CDTF">2022-10-11T20:38:03Z</dcterms:created>
  <dcterms:modified xsi:type="dcterms:W3CDTF">2024-01-17T19:4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